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  <p:sldMasterId id="2147483711" r:id="rId5"/>
  </p:sldMasterIdLst>
  <p:notesMasterIdLst>
    <p:notesMasterId r:id="rId7"/>
  </p:notesMasterIdLst>
  <p:handoutMasterIdLst>
    <p:handoutMasterId r:id="rId8"/>
  </p:handoutMasterIdLst>
  <p:sldIdLst>
    <p:sldId id="2147478976" r:id="rId6"/>
  </p:sldIdLst>
  <p:sldSz cx="11520488" cy="6480175"/>
  <p:notesSz cx="6858000" cy="9144000"/>
  <p:custDataLst>
    <p:tags r:id="rId9"/>
  </p:custDataLst>
  <p:defaultTextStyle>
    <a:defPPr>
      <a:defRPr lang="de-DE"/>
    </a:defPPr>
    <a:lvl1pPr marL="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92EE10-1BD4-758C-3821-65845B7B8B99}" name="Anna Hees" initials="AH" userId="S::anna.hees@cofinity-x.com::4f7c700b-1f2d-4d34-9a12-3e4bc16fe37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002"/>
    <a:srgbClr val="D9D9D9"/>
    <a:srgbClr val="FAA000"/>
    <a:srgbClr val="FAA100"/>
    <a:srgbClr val="FBA702"/>
    <a:srgbClr val="E1E3DE"/>
    <a:srgbClr val="F3F6CA"/>
    <a:srgbClr val="737A1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FE14D31-5D87-4832-A2FE-E6AFDF81F932}" v="5" dt="2024-05-08T07:27:34.96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240" autoAdjust="0"/>
    <p:restoredTop sz="94688"/>
  </p:normalViewPr>
  <p:slideViewPr>
    <p:cSldViewPr snapToGrid="0">
      <p:cViewPr>
        <p:scale>
          <a:sx n="75" d="100"/>
          <a:sy n="75" d="100"/>
        </p:scale>
        <p:origin x="1277" y="2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055F164-CB95-4BC3-9DDB-45CA2CE010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75250C4-62D4-4E9D-8419-C2B5A5EE52F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03CDCE-39AD-473F-A12F-FFB7F618A376}" type="datetimeFigureOut">
              <a:rPr lang="de-DE" smtClean="0"/>
              <a:t>06.06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27D1424-08FD-4B4D-9DEF-A4CEC9529D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D0E87D-8FD6-4F63-9E35-1BA1074D7A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B4224-A638-4E81-A729-16E2E059737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3176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F5827C-5BA7-4A1C-AE89-0144598B9763}" type="datetimeFigureOut">
              <a:rPr lang="de-DE" smtClean="0"/>
              <a:t>06.06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3C576A-2AD5-4175-81A7-2313C2C0C13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0378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2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8621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0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3"/>
            <a:ext cx="5760000" cy="720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91375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 userDrawn="1">
          <p15:clr>
            <a:srgbClr val="FBAE40"/>
          </p15:clr>
        </p15:guide>
        <p15:guide id="2" pos="295" userDrawn="1">
          <p15:clr>
            <a:srgbClr val="FBAE40"/>
          </p15:clr>
        </p15:guide>
        <p15:guide id="3" pos="589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04482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1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03041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3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799" y="-4236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53244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  <p15:guide id="2" pos="589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4286" userDrawn="1">
          <p15:clr>
            <a:srgbClr val="FBAE40"/>
          </p15:clr>
        </p15:guide>
        <p15:guide id="5" pos="6962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3515" userDrawn="1">
          <p15:clr>
            <a:srgbClr val="FBAE40"/>
          </p15:clr>
        </p15:guide>
        <p15:guide id="8" pos="3991" userDrawn="1">
          <p15:clr>
            <a:srgbClr val="FBAE40"/>
          </p15:clr>
        </p15:guide>
        <p15:guide id="9" orient="horz" pos="112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6491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9268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898223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A4A3A4"/>
          </p15:clr>
        </p15:guide>
        <p15:guide id="2" orient="horz" pos="1062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10622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3069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 userDrawn="1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0224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37308852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27E8EFA-32B0-AD87-FDE9-C54006AA6C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7982341"/>
              </p:ext>
            </p:ext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27E8EFA-32B0-AD87-FDE9-C54006AA6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9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4518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19956896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433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99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56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1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1" y="4320000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1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1" y="358189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1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1" y="2843791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1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1" y="210568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1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1" y="1367582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2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4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88908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60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9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54222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5371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41627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62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4"/>
            <a:ext cx="5760000" cy="720001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3949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" userDrawn="1">
          <p15:clr>
            <a:srgbClr val="FBAE40"/>
          </p15:clr>
        </p15:guide>
        <p15:guide id="2" pos="372" userDrawn="1">
          <p15:clr>
            <a:srgbClr val="FBAE40"/>
          </p15:clr>
        </p15:guide>
        <p15:guide id="3" pos="74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923200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2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118132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372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4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800" y="-423599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94000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86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5400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428" userDrawn="1">
          <p15:clr>
            <a:srgbClr val="FBAE40"/>
          </p15:clr>
        </p15:guide>
        <p15:guide id="8" pos="5028" userDrawn="1">
          <p15:clr>
            <a:srgbClr val="FBAE40"/>
          </p15:clr>
        </p15:guide>
        <p15:guide id="9" orient="horz" pos="1414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0388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0578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49321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044172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977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1197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058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27E8EFA-32B0-AD87-FDE9-C54006AA6C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7982341"/>
              </p:ext>
            </p:ext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27E8EFA-32B0-AD87-FDE9-C54006AA6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06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284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0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0" y="4320000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0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0" y="358189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0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0" y="284379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0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0" y="210568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0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0" y="136758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567365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6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59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8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10783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1417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 userDrawn="1">
          <p15:clr>
            <a:srgbClr val="A4A3A4"/>
          </p15:clr>
        </p15:guide>
        <p15:guide id="2" orient="horz" pos="1429" userDrawn="1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 userDrawn="1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0854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23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oleObject" Target="../embeddings/oleObject4.bin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ags" Target="../tags/tag5.xml"/><Relationship Id="rId27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59" imgH="360" progId="TCLayout.ActiveDocument.1">
                  <p:embed/>
                </p:oleObj>
              </mc:Choice>
              <mc:Fallback>
                <p:oleObj name="think-cell Folie" r:id="rId23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8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7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6887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99" r:id="rId2"/>
    <p:sldLayoutId id="2147483662" r:id="rId3"/>
    <p:sldLayoutId id="2147483664" r:id="rId4"/>
    <p:sldLayoutId id="2147483693" r:id="rId5"/>
    <p:sldLayoutId id="2147483694" r:id="rId6"/>
    <p:sldLayoutId id="2147483686" r:id="rId7"/>
    <p:sldLayoutId id="2147483692" r:id="rId8"/>
    <p:sldLayoutId id="2147483688" r:id="rId9"/>
    <p:sldLayoutId id="2147483660" r:id="rId10"/>
    <p:sldLayoutId id="2147483690" r:id="rId11"/>
    <p:sldLayoutId id="2147483663" r:id="rId12"/>
    <p:sldLayoutId id="2147483661" r:id="rId13"/>
    <p:sldLayoutId id="2147483695" r:id="rId14"/>
    <p:sldLayoutId id="2147483698" r:id="rId15"/>
    <p:sldLayoutId id="2147483689" r:id="rId16"/>
    <p:sldLayoutId id="2147483691" r:id="rId17"/>
    <p:sldLayoutId id="2147483696" r:id="rId18"/>
    <p:sldLayoutId id="2147483697" r:id="rId19"/>
    <p:sldLayoutId id="2147483732" r:id="rId20"/>
  </p:sldLayoutIdLst>
  <p:hf hdr="0"/>
  <p:txStyles>
    <p:titleStyle>
      <a:lvl1pPr marL="0" indent="0" algn="l" defTabSz="864017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4000" indent="-864000" algn="l" defTabSz="864017" rtl="0" eaLnBrk="1" latinLnBrk="0" hangingPunct="1">
        <a:lnSpc>
          <a:spcPct val="95000"/>
        </a:lnSpc>
        <a:spcBef>
          <a:spcPts val="2000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80000" indent="-21600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59" imgH="360" progId="TCLayout.ActiveDocument.1">
                  <p:embed/>
                </p:oleObj>
              </mc:Choice>
              <mc:Fallback>
                <p:oleObj name="think-cell Folie" r:id="rId23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7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7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6334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</p:sldLayoutIdLst>
  <p:hf hdr="0"/>
  <p:txStyles>
    <p:titleStyle>
      <a:lvl1pPr marL="0" indent="0" algn="l" defTabSz="864002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3985" indent="-863985" algn="l" defTabSz="864002" rtl="0" eaLnBrk="1" latinLnBrk="0" hangingPunct="1">
        <a:lnSpc>
          <a:spcPct val="95000"/>
        </a:lnSpc>
        <a:spcBef>
          <a:spcPts val="1999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79981" indent="-215996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1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03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04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05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36">
            <a:extLst>
              <a:ext uri="{FF2B5EF4-FFF2-40B4-BE49-F238E27FC236}">
                <a16:creationId xmlns:a16="http://schemas.microsoft.com/office/drawing/2014/main" id="{9734CFBC-F2CE-0210-52ED-AF1D4B4D7991}"/>
              </a:ext>
            </a:extLst>
          </p:cNvPr>
          <p:cNvSpPr/>
          <p:nvPr/>
        </p:nvSpPr>
        <p:spPr>
          <a:xfrm>
            <a:off x="487080" y="1074532"/>
            <a:ext cx="10546328" cy="4607748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rgbClr val="4B4B4A"/>
                </a:solidFill>
                <a:latin typeface="Manrope" pitchFamily="2" charset="0"/>
              </a:rPr>
              <a:t>Catena-X Operating System </a:t>
            </a:r>
            <a:r>
              <a:rPr lang="en-US" sz="1000" dirty="0">
                <a:solidFill>
                  <a:srgbClr val="4B4B4A"/>
                </a:solidFill>
                <a:latin typeface="Manrope" pitchFamily="2" charset="0"/>
              </a:rPr>
              <a:t>(</a:t>
            </a:r>
            <a:r>
              <a:rPr lang="en-US" sz="1000" dirty="0" err="1">
                <a:solidFill>
                  <a:srgbClr val="4B4B4A"/>
                </a:solidFill>
                <a:latin typeface="Manrope" pitchFamily="2" charset="0"/>
              </a:rPr>
              <a:t>cxOS</a:t>
            </a:r>
            <a:r>
              <a:rPr lang="en-US" sz="1000" dirty="0">
                <a:solidFill>
                  <a:srgbClr val="4B4B4A"/>
                </a:solidFill>
                <a:latin typeface="Manrope" pitchFamily="2" charset="0"/>
              </a:rPr>
              <a:t>)</a:t>
            </a:r>
          </a:p>
        </p:txBody>
      </p:sp>
      <p:sp>
        <p:nvSpPr>
          <p:cNvPr id="14" name="Rechteck 35">
            <a:extLst>
              <a:ext uri="{FF2B5EF4-FFF2-40B4-BE49-F238E27FC236}">
                <a16:creationId xmlns:a16="http://schemas.microsoft.com/office/drawing/2014/main" id="{5C48FA20-8A31-5963-7003-0142169C8EE1}"/>
              </a:ext>
            </a:extLst>
          </p:cNvPr>
          <p:cNvSpPr/>
          <p:nvPr/>
        </p:nvSpPr>
        <p:spPr>
          <a:xfrm>
            <a:off x="7659387" y="1740523"/>
            <a:ext cx="3206834" cy="3701561"/>
          </a:xfrm>
          <a:prstGeom prst="rect">
            <a:avLst/>
          </a:prstGeom>
          <a:solidFill>
            <a:srgbClr val="5F5F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chemeClr val="bg1"/>
                </a:solidFill>
                <a:latin typeface="Manrope" pitchFamily="2" charset="0"/>
              </a:rPr>
              <a:t>Enablement Services</a:t>
            </a:r>
          </a:p>
        </p:txBody>
      </p:sp>
      <p:sp>
        <p:nvSpPr>
          <p:cNvPr id="15" name="Rechteck 53">
            <a:extLst>
              <a:ext uri="{FF2B5EF4-FFF2-40B4-BE49-F238E27FC236}">
                <a16:creationId xmlns:a16="http://schemas.microsoft.com/office/drawing/2014/main" id="{AB2DCFFE-F078-2DB4-0C2E-AFF3449B35E7}"/>
              </a:ext>
            </a:extLst>
          </p:cNvPr>
          <p:cNvSpPr/>
          <p:nvPr/>
        </p:nvSpPr>
        <p:spPr>
          <a:xfrm>
            <a:off x="7993199" y="1968785"/>
            <a:ext cx="2807957" cy="1587484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endParaRPr lang="de-DE" sz="1000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16" name="Rechteck 52">
            <a:extLst>
              <a:ext uri="{FF2B5EF4-FFF2-40B4-BE49-F238E27FC236}">
                <a16:creationId xmlns:a16="http://schemas.microsoft.com/office/drawing/2014/main" id="{964A483A-FC51-7F12-B0C4-E16BD438FEE2}"/>
              </a:ext>
            </a:extLst>
          </p:cNvPr>
          <p:cNvSpPr/>
          <p:nvPr/>
        </p:nvSpPr>
        <p:spPr>
          <a:xfrm>
            <a:off x="7926012" y="2018749"/>
            <a:ext cx="2807957" cy="1587484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endParaRPr lang="de-DE" sz="1000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17" name="Rechteck 25">
            <a:extLst>
              <a:ext uri="{FF2B5EF4-FFF2-40B4-BE49-F238E27FC236}">
                <a16:creationId xmlns:a16="http://schemas.microsoft.com/office/drawing/2014/main" id="{7B369776-C1EE-774F-0E53-F633104713AF}"/>
              </a:ext>
            </a:extLst>
          </p:cNvPr>
          <p:cNvSpPr/>
          <p:nvPr/>
        </p:nvSpPr>
        <p:spPr>
          <a:xfrm>
            <a:off x="7858825" y="2068712"/>
            <a:ext cx="2807957" cy="1587484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de-DE" sz="1000" b="1" dirty="0">
                <a:solidFill>
                  <a:srgbClr val="5F5F5E"/>
                </a:solidFill>
                <a:latin typeface="Manrope" pitchFamily="2" charset="0"/>
              </a:rPr>
              <a:t>Connector</a:t>
            </a:r>
          </a:p>
        </p:txBody>
      </p:sp>
      <p:sp>
        <p:nvSpPr>
          <p:cNvPr id="22" name="Rechteck 34">
            <a:extLst>
              <a:ext uri="{FF2B5EF4-FFF2-40B4-BE49-F238E27FC236}">
                <a16:creationId xmlns:a16="http://schemas.microsoft.com/office/drawing/2014/main" id="{2CD80B32-9E2F-7F6C-52BF-FE4115C05C34}"/>
              </a:ext>
            </a:extLst>
          </p:cNvPr>
          <p:cNvSpPr/>
          <p:nvPr/>
        </p:nvSpPr>
        <p:spPr>
          <a:xfrm>
            <a:off x="640446" y="1740524"/>
            <a:ext cx="4859925" cy="3701561"/>
          </a:xfrm>
          <a:prstGeom prst="rect">
            <a:avLst/>
          </a:prstGeom>
          <a:solidFill>
            <a:srgbClr val="5F5F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chemeClr val="bg1"/>
                </a:solidFill>
                <a:latin typeface="Manrope" pitchFamily="2" charset="0"/>
              </a:rPr>
              <a:t>Core Services</a:t>
            </a:r>
          </a:p>
        </p:txBody>
      </p:sp>
      <p:sp>
        <p:nvSpPr>
          <p:cNvPr id="23" name="Rechteck 26">
            <a:extLst>
              <a:ext uri="{FF2B5EF4-FFF2-40B4-BE49-F238E27FC236}">
                <a16:creationId xmlns:a16="http://schemas.microsoft.com/office/drawing/2014/main" id="{92A637DA-B680-C376-4277-58830678109C}"/>
              </a:ext>
            </a:extLst>
          </p:cNvPr>
          <p:cNvSpPr/>
          <p:nvPr/>
        </p:nvSpPr>
        <p:spPr>
          <a:xfrm>
            <a:off x="885660" y="2014456"/>
            <a:ext cx="1547977" cy="3217388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endParaRPr lang="de-DE" sz="1000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24" name="Rechteck 19">
            <a:extLst>
              <a:ext uri="{FF2B5EF4-FFF2-40B4-BE49-F238E27FC236}">
                <a16:creationId xmlns:a16="http://schemas.microsoft.com/office/drawing/2014/main" id="{F468164A-9CE1-0444-61CE-3A4303F668EA}"/>
              </a:ext>
            </a:extLst>
          </p:cNvPr>
          <p:cNvSpPr/>
          <p:nvPr/>
        </p:nvSpPr>
        <p:spPr>
          <a:xfrm>
            <a:off x="823364" y="2082264"/>
            <a:ext cx="1547977" cy="3217388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endParaRPr lang="de-DE" sz="1000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25" name="Rechteck 7">
            <a:extLst>
              <a:ext uri="{FF2B5EF4-FFF2-40B4-BE49-F238E27FC236}">
                <a16:creationId xmlns:a16="http://schemas.microsoft.com/office/drawing/2014/main" id="{9936DA07-C5A0-306F-1FCF-551DF87502DB}"/>
              </a:ext>
            </a:extLst>
          </p:cNvPr>
          <p:cNvSpPr/>
          <p:nvPr/>
        </p:nvSpPr>
        <p:spPr>
          <a:xfrm>
            <a:off x="758614" y="2150073"/>
            <a:ext cx="1547977" cy="3217388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de-DE" sz="1000" b="1" dirty="0">
                <a:solidFill>
                  <a:srgbClr val="5F5F5E"/>
                </a:solidFill>
                <a:latin typeface="Manrope" pitchFamily="2" charset="0"/>
              </a:rPr>
              <a:t>Core Services  A</a:t>
            </a:r>
          </a:p>
        </p:txBody>
      </p:sp>
      <p:sp>
        <p:nvSpPr>
          <p:cNvPr id="26" name="Rechteck 12">
            <a:extLst>
              <a:ext uri="{FF2B5EF4-FFF2-40B4-BE49-F238E27FC236}">
                <a16:creationId xmlns:a16="http://schemas.microsoft.com/office/drawing/2014/main" id="{6F8D4054-510E-C35B-6055-D49C7032535A}"/>
              </a:ext>
            </a:extLst>
          </p:cNvPr>
          <p:cNvSpPr/>
          <p:nvPr/>
        </p:nvSpPr>
        <p:spPr>
          <a:xfrm>
            <a:off x="2563025" y="2015559"/>
            <a:ext cx="2807957" cy="3351902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de-DE" sz="1000" b="1" dirty="0">
                <a:solidFill>
                  <a:srgbClr val="5F5F5E"/>
                </a:solidFill>
                <a:latin typeface="Manrope" pitchFamily="2" charset="0"/>
              </a:rPr>
              <a:t>Core Services B</a:t>
            </a:r>
          </a:p>
        </p:txBody>
      </p:sp>
      <p:sp>
        <p:nvSpPr>
          <p:cNvPr id="39" name="Rechteck 24">
            <a:extLst>
              <a:ext uri="{FF2B5EF4-FFF2-40B4-BE49-F238E27FC236}">
                <a16:creationId xmlns:a16="http://schemas.microsoft.com/office/drawing/2014/main" id="{F71EAA6C-1140-3BBD-E104-157E4B44D033}"/>
              </a:ext>
            </a:extLst>
          </p:cNvPr>
          <p:cNvSpPr/>
          <p:nvPr/>
        </p:nvSpPr>
        <p:spPr>
          <a:xfrm>
            <a:off x="5653981" y="1740524"/>
            <a:ext cx="1854052" cy="3701560"/>
          </a:xfrm>
          <a:prstGeom prst="rect">
            <a:avLst/>
          </a:prstGeom>
          <a:solidFill>
            <a:srgbClr val="5F5F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solidFill>
                  <a:schemeClr val="bg1"/>
                </a:solidFill>
                <a:latin typeface="Manrope" pitchFamily="2" charset="0"/>
              </a:rPr>
              <a:t>Onboarding Services</a:t>
            </a:r>
          </a:p>
        </p:txBody>
      </p:sp>
      <p:sp>
        <p:nvSpPr>
          <p:cNvPr id="40" name="Rechteck 38">
            <a:extLst>
              <a:ext uri="{FF2B5EF4-FFF2-40B4-BE49-F238E27FC236}">
                <a16:creationId xmlns:a16="http://schemas.microsoft.com/office/drawing/2014/main" id="{F6091AA3-C055-0B72-F016-987D7A3B728E}"/>
              </a:ext>
            </a:extLst>
          </p:cNvPr>
          <p:cNvSpPr/>
          <p:nvPr/>
        </p:nvSpPr>
        <p:spPr>
          <a:xfrm>
            <a:off x="7993199" y="3727379"/>
            <a:ext cx="2807957" cy="1540157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endParaRPr lang="de-DE" sz="1000">
              <a:solidFill>
                <a:srgbClr val="5F5F5E"/>
              </a:solidFill>
              <a:latin typeface="Manrope" pitchFamily="2" charset="0"/>
            </a:endParaRPr>
          </a:p>
        </p:txBody>
      </p:sp>
      <p:sp>
        <p:nvSpPr>
          <p:cNvPr id="41" name="Rechteck 48">
            <a:extLst>
              <a:ext uri="{FF2B5EF4-FFF2-40B4-BE49-F238E27FC236}">
                <a16:creationId xmlns:a16="http://schemas.microsoft.com/office/drawing/2014/main" id="{595DC90D-74D5-653B-FE33-93558EE3F394}"/>
              </a:ext>
            </a:extLst>
          </p:cNvPr>
          <p:cNvSpPr/>
          <p:nvPr/>
        </p:nvSpPr>
        <p:spPr>
          <a:xfrm>
            <a:off x="7926012" y="3777369"/>
            <a:ext cx="2807957" cy="1540157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endParaRPr lang="de-DE" sz="1000">
              <a:solidFill>
                <a:srgbClr val="5F5F5E"/>
              </a:solidFill>
              <a:latin typeface="Manrope" pitchFamily="2" charset="0"/>
            </a:endParaRPr>
          </a:p>
        </p:txBody>
      </p:sp>
      <p:sp>
        <p:nvSpPr>
          <p:cNvPr id="42" name="Rechteck 49">
            <a:extLst>
              <a:ext uri="{FF2B5EF4-FFF2-40B4-BE49-F238E27FC236}">
                <a16:creationId xmlns:a16="http://schemas.microsoft.com/office/drawing/2014/main" id="{D40403EA-EBA9-11A8-0A6D-3D63FE47BE45}"/>
              </a:ext>
            </a:extLst>
          </p:cNvPr>
          <p:cNvSpPr/>
          <p:nvPr/>
        </p:nvSpPr>
        <p:spPr>
          <a:xfrm>
            <a:off x="7858825" y="3827304"/>
            <a:ext cx="2807957" cy="1540157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de-DE" sz="1000" b="1">
                <a:solidFill>
                  <a:srgbClr val="5F5F5E"/>
                </a:solidFill>
                <a:latin typeface="Manrope" pitchFamily="2" charset="0"/>
              </a:rPr>
              <a:t>Digital Twin Context</a:t>
            </a:r>
          </a:p>
        </p:txBody>
      </p:sp>
      <p:sp>
        <p:nvSpPr>
          <p:cNvPr id="44" name="Rechteck 29">
            <a:extLst>
              <a:ext uri="{FF2B5EF4-FFF2-40B4-BE49-F238E27FC236}">
                <a16:creationId xmlns:a16="http://schemas.microsoft.com/office/drawing/2014/main" id="{8DDDCB0C-1AA1-2E0B-6758-70DA89D17EEB}"/>
              </a:ext>
            </a:extLst>
          </p:cNvPr>
          <p:cNvSpPr/>
          <p:nvPr/>
        </p:nvSpPr>
        <p:spPr>
          <a:xfrm>
            <a:off x="9300141" y="4483716"/>
            <a:ext cx="1223981" cy="35999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prstDash val="soli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srgbClr val="5F5F5E"/>
                </a:solidFill>
                <a:latin typeface="Manrope" pitchFamily="2" charset="0"/>
              </a:rPr>
              <a:t>Simple Data Exchanger</a:t>
            </a:r>
          </a:p>
        </p:txBody>
      </p:sp>
      <p:sp>
        <p:nvSpPr>
          <p:cNvPr id="45" name="Rechteck 31">
            <a:extLst>
              <a:ext uri="{FF2B5EF4-FFF2-40B4-BE49-F238E27FC236}">
                <a16:creationId xmlns:a16="http://schemas.microsoft.com/office/drawing/2014/main" id="{7094DF04-6E2C-3A99-50FF-BCB6C4CB4E4B}"/>
              </a:ext>
            </a:extLst>
          </p:cNvPr>
          <p:cNvSpPr/>
          <p:nvPr/>
        </p:nvSpPr>
        <p:spPr>
          <a:xfrm>
            <a:off x="9300141" y="4068209"/>
            <a:ext cx="1223981" cy="35999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prstDash val="soli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srgbClr val="5F5F5E"/>
                </a:solidFill>
                <a:latin typeface="Manrope" pitchFamily="2" charset="0"/>
              </a:rPr>
              <a:t>Item Relationship</a:t>
            </a:r>
          </a:p>
        </p:txBody>
      </p:sp>
      <p:sp>
        <p:nvSpPr>
          <p:cNvPr id="47" name="Rechteck 50">
            <a:extLst>
              <a:ext uri="{FF2B5EF4-FFF2-40B4-BE49-F238E27FC236}">
                <a16:creationId xmlns:a16="http://schemas.microsoft.com/office/drawing/2014/main" id="{0576BEC4-BF51-C1E8-38D6-416E17A39222}"/>
              </a:ext>
            </a:extLst>
          </p:cNvPr>
          <p:cNvSpPr/>
          <p:nvPr/>
        </p:nvSpPr>
        <p:spPr>
          <a:xfrm>
            <a:off x="5888113" y="2014453"/>
            <a:ext cx="1547977" cy="3211617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endParaRPr lang="de-DE" sz="1000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48" name="Rechteck 51">
            <a:extLst>
              <a:ext uri="{FF2B5EF4-FFF2-40B4-BE49-F238E27FC236}">
                <a16:creationId xmlns:a16="http://schemas.microsoft.com/office/drawing/2014/main" id="{096075E0-51A4-3206-CAB7-1AFC04358529}"/>
              </a:ext>
            </a:extLst>
          </p:cNvPr>
          <p:cNvSpPr/>
          <p:nvPr/>
        </p:nvSpPr>
        <p:spPr>
          <a:xfrm>
            <a:off x="5840491" y="2085149"/>
            <a:ext cx="1547977" cy="3211617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endParaRPr lang="de-DE" sz="1000">
              <a:solidFill>
                <a:schemeClr val="bg1"/>
              </a:solidFill>
              <a:latin typeface="Manrope" pitchFamily="2" charset="0"/>
            </a:endParaRPr>
          </a:p>
        </p:txBody>
      </p:sp>
      <p:sp>
        <p:nvSpPr>
          <p:cNvPr id="49" name="Rechteck 56">
            <a:extLst>
              <a:ext uri="{FF2B5EF4-FFF2-40B4-BE49-F238E27FC236}">
                <a16:creationId xmlns:a16="http://schemas.microsoft.com/office/drawing/2014/main" id="{6B6D11E5-EF5E-4B21-78C3-87965DB5C9C2}"/>
              </a:ext>
            </a:extLst>
          </p:cNvPr>
          <p:cNvSpPr/>
          <p:nvPr/>
        </p:nvSpPr>
        <p:spPr>
          <a:xfrm>
            <a:off x="5792871" y="2155844"/>
            <a:ext cx="1547977" cy="3211617"/>
          </a:xfrm>
          <a:prstGeom prst="rect">
            <a:avLst/>
          </a:prstGeom>
          <a:solidFill>
            <a:srgbClr val="FFA615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de-DE" sz="1000" b="1" dirty="0">
                <a:solidFill>
                  <a:srgbClr val="5F5F5E"/>
                </a:solidFill>
                <a:latin typeface="Manrope" pitchFamily="2" charset="0"/>
              </a:rPr>
              <a:t>Onboarding Servic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74FD8BC-C78D-8C3A-2C5F-D55640133305}"/>
              </a:ext>
            </a:extLst>
          </p:cNvPr>
          <p:cNvGrpSpPr/>
          <p:nvPr/>
        </p:nvGrpSpPr>
        <p:grpSpPr>
          <a:xfrm>
            <a:off x="8001484" y="2424350"/>
            <a:ext cx="2522638" cy="1194211"/>
            <a:chOff x="8417202" y="2414190"/>
            <a:chExt cx="2522638" cy="1194211"/>
          </a:xfrm>
        </p:grpSpPr>
        <p:sp>
          <p:nvSpPr>
            <p:cNvPr id="18" name="Rechteck 40">
              <a:extLst>
                <a:ext uri="{FF2B5EF4-FFF2-40B4-BE49-F238E27FC236}">
                  <a16:creationId xmlns:a16="http://schemas.microsoft.com/office/drawing/2014/main" id="{1F9680C7-676C-D728-977E-54BB9C0E4170}"/>
                </a:ext>
              </a:extLst>
            </p:cNvPr>
            <p:cNvSpPr/>
            <p:nvPr/>
          </p:nvSpPr>
          <p:spPr>
            <a:xfrm>
              <a:off x="8417203" y="2414190"/>
              <a:ext cx="1223981" cy="35999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1439" tIns="45719" rIns="91439" bIns="45719"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1000" dirty="0">
                  <a:solidFill>
                    <a:srgbClr val="5F5F5E"/>
                  </a:solidFill>
                  <a:latin typeface="Manrope" pitchFamily="2" charset="0"/>
                </a:rPr>
                <a:t>Data Exchange Management</a:t>
              </a:r>
            </a:p>
          </p:txBody>
        </p:sp>
        <p:sp>
          <p:nvSpPr>
            <p:cNvPr id="19" name="Rechteck 41">
              <a:extLst>
                <a:ext uri="{FF2B5EF4-FFF2-40B4-BE49-F238E27FC236}">
                  <a16:creationId xmlns:a16="http://schemas.microsoft.com/office/drawing/2014/main" id="{612771CD-1448-213D-E9A5-CB569454CDD1}"/>
                </a:ext>
              </a:extLst>
            </p:cNvPr>
            <p:cNvSpPr/>
            <p:nvPr/>
          </p:nvSpPr>
          <p:spPr>
            <a:xfrm>
              <a:off x="9715859" y="2830560"/>
              <a:ext cx="1223981" cy="35999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1439" tIns="45719" rIns="91439" bIns="45719"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5F5F5E"/>
                  </a:solidFill>
                  <a:latin typeface="Manrope" pitchFamily="2" charset="0"/>
                </a:rPr>
                <a:t>Policy Management</a:t>
              </a:r>
            </a:p>
          </p:txBody>
        </p:sp>
        <p:sp>
          <p:nvSpPr>
            <p:cNvPr id="20" name="Rechteck 46">
              <a:extLst>
                <a:ext uri="{FF2B5EF4-FFF2-40B4-BE49-F238E27FC236}">
                  <a16:creationId xmlns:a16="http://schemas.microsoft.com/office/drawing/2014/main" id="{EEE6EE67-50B6-C737-EED1-7FAB98EF264C}"/>
                </a:ext>
              </a:extLst>
            </p:cNvPr>
            <p:cNvSpPr/>
            <p:nvPr/>
          </p:nvSpPr>
          <p:spPr>
            <a:xfrm>
              <a:off x="9705383" y="2414190"/>
              <a:ext cx="1223981" cy="35999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5F5F5E"/>
                  </a:solidFill>
                  <a:latin typeface="Manrope" pitchFamily="2" charset="0"/>
                </a:rPr>
                <a:t>Credential Verifier</a:t>
              </a:r>
            </a:p>
          </p:txBody>
        </p:sp>
        <p:sp>
          <p:nvSpPr>
            <p:cNvPr id="21" name="Rechteck 31">
              <a:extLst>
                <a:ext uri="{FF2B5EF4-FFF2-40B4-BE49-F238E27FC236}">
                  <a16:creationId xmlns:a16="http://schemas.microsoft.com/office/drawing/2014/main" id="{DCF66FA4-73BE-FBE5-2450-F435A751F016}"/>
                </a:ext>
              </a:extLst>
            </p:cNvPr>
            <p:cNvSpPr/>
            <p:nvPr/>
          </p:nvSpPr>
          <p:spPr>
            <a:xfrm>
              <a:off x="8417203" y="2833985"/>
              <a:ext cx="1223981" cy="35999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rgbClr val="5F5F5E"/>
                  </a:solidFill>
                  <a:latin typeface="Manrope" pitchFamily="2" charset="0"/>
                </a:rPr>
                <a:t>Identity</a:t>
              </a:r>
              <a:br>
                <a:rPr lang="en-US" sz="1000" dirty="0">
                  <a:solidFill>
                    <a:srgbClr val="5F5F5E"/>
                  </a:solidFill>
                  <a:latin typeface="Manrope" pitchFamily="2" charset="0"/>
                </a:rPr>
              </a:br>
              <a:r>
                <a:rPr lang="en-US" sz="1000" dirty="0">
                  <a:solidFill>
                    <a:srgbClr val="5F5F5E"/>
                  </a:solidFill>
                  <a:latin typeface="Manrope" pitchFamily="2" charset="0"/>
                </a:rPr>
                <a:t>Check</a:t>
              </a:r>
            </a:p>
          </p:txBody>
        </p:sp>
        <p:sp>
          <p:nvSpPr>
            <p:cNvPr id="59" name="Rechteck 31">
              <a:extLst>
                <a:ext uri="{FF2B5EF4-FFF2-40B4-BE49-F238E27FC236}">
                  <a16:creationId xmlns:a16="http://schemas.microsoft.com/office/drawing/2014/main" id="{AEBE4EE9-CD5F-B6FB-D338-7FF9B42D723E}"/>
                </a:ext>
              </a:extLst>
            </p:cNvPr>
            <p:cNvSpPr/>
            <p:nvPr/>
          </p:nvSpPr>
          <p:spPr>
            <a:xfrm>
              <a:off x="8417202" y="3248406"/>
              <a:ext cx="1223981" cy="35999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5F5F5E"/>
                  </a:solidFill>
                  <a:latin typeface="Manrope" pitchFamily="2" charset="0"/>
                </a:rPr>
                <a:t>Knowledge Agent Transfer</a:t>
              </a:r>
            </a:p>
          </p:txBody>
        </p:sp>
        <p:sp>
          <p:nvSpPr>
            <p:cNvPr id="60" name="Rechteck 31">
              <a:extLst>
                <a:ext uri="{FF2B5EF4-FFF2-40B4-BE49-F238E27FC236}">
                  <a16:creationId xmlns:a16="http://schemas.microsoft.com/office/drawing/2014/main" id="{09C78C9D-9E9F-7591-5B87-29F3518FCA52}"/>
                </a:ext>
              </a:extLst>
            </p:cNvPr>
            <p:cNvSpPr/>
            <p:nvPr/>
          </p:nvSpPr>
          <p:spPr>
            <a:xfrm>
              <a:off x="9715859" y="3248405"/>
              <a:ext cx="1223981" cy="35999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5F5F5E"/>
                  </a:solidFill>
                  <a:latin typeface="Manrope" pitchFamily="2" charset="0"/>
                </a:rPr>
                <a:t>Knowledge Agent Matchmaking</a:t>
              </a:r>
            </a:p>
          </p:txBody>
        </p:sp>
      </p:grpSp>
      <p:sp>
        <p:nvSpPr>
          <p:cNvPr id="61" name="Rechteck 31">
            <a:extLst>
              <a:ext uri="{FF2B5EF4-FFF2-40B4-BE49-F238E27FC236}">
                <a16:creationId xmlns:a16="http://schemas.microsoft.com/office/drawing/2014/main" id="{0DA7DC6E-4C72-7895-830E-EEAE3BC037F8}"/>
              </a:ext>
            </a:extLst>
          </p:cNvPr>
          <p:cNvSpPr/>
          <p:nvPr/>
        </p:nvSpPr>
        <p:spPr>
          <a:xfrm>
            <a:off x="9300141" y="4907644"/>
            <a:ext cx="1223981" cy="35999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prstDash val="soli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>
                <a:solidFill>
                  <a:srgbClr val="5F5F5E"/>
                </a:solidFill>
                <a:latin typeface="Manrope" pitchFamily="2" charset="0"/>
              </a:rPr>
              <a:t>Knowledge Agent Bind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12FD6BA-8EBC-B606-E30C-9306AB346B22}"/>
              </a:ext>
            </a:extLst>
          </p:cNvPr>
          <p:cNvGrpSpPr/>
          <p:nvPr/>
        </p:nvGrpSpPr>
        <p:grpSpPr>
          <a:xfrm>
            <a:off x="902612" y="2424345"/>
            <a:ext cx="1259981" cy="1584474"/>
            <a:chOff x="1313130" y="2414185"/>
            <a:chExt cx="1259981" cy="1584474"/>
          </a:xfrm>
        </p:grpSpPr>
        <p:sp>
          <p:nvSpPr>
            <p:cNvPr id="36" name="Rechteck 13">
              <a:extLst>
                <a:ext uri="{FF2B5EF4-FFF2-40B4-BE49-F238E27FC236}">
                  <a16:creationId xmlns:a16="http://schemas.microsoft.com/office/drawing/2014/main" id="{A8C0AD20-219A-7A6D-7C1D-96E0523E79AA}"/>
                </a:ext>
              </a:extLst>
            </p:cNvPr>
            <p:cNvSpPr/>
            <p:nvPr/>
          </p:nvSpPr>
          <p:spPr>
            <a:xfrm>
              <a:off x="1313130" y="3230501"/>
              <a:ext cx="1259981" cy="36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Semantic Hub</a:t>
              </a:r>
            </a:p>
          </p:txBody>
        </p:sp>
        <p:sp>
          <p:nvSpPr>
            <p:cNvPr id="37" name="Rechteck 21">
              <a:extLst>
                <a:ext uri="{FF2B5EF4-FFF2-40B4-BE49-F238E27FC236}">
                  <a16:creationId xmlns:a16="http://schemas.microsoft.com/office/drawing/2014/main" id="{0BD6C3F5-C96C-4BCF-1117-E4CF460E43BC}"/>
                </a:ext>
              </a:extLst>
            </p:cNvPr>
            <p:cNvSpPr/>
            <p:nvPr/>
          </p:nvSpPr>
          <p:spPr>
            <a:xfrm>
              <a:off x="1313130" y="2414185"/>
              <a:ext cx="1259981" cy="36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Marketplace</a:t>
              </a:r>
            </a:p>
          </p:txBody>
        </p:sp>
        <p:sp>
          <p:nvSpPr>
            <p:cNvPr id="38" name="Rechteck 22">
              <a:extLst>
                <a:ext uri="{FF2B5EF4-FFF2-40B4-BE49-F238E27FC236}">
                  <a16:creationId xmlns:a16="http://schemas.microsoft.com/office/drawing/2014/main" id="{F5B434B3-19CB-2EF3-7E0F-B49561A4008D}"/>
                </a:ext>
              </a:extLst>
            </p:cNvPr>
            <p:cNvSpPr/>
            <p:nvPr/>
          </p:nvSpPr>
          <p:spPr>
            <a:xfrm>
              <a:off x="1313130" y="2822343"/>
              <a:ext cx="1259981" cy="36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Partner </a:t>
              </a:r>
              <a:br>
                <a:rPr lang="en-US" sz="1000">
                  <a:solidFill>
                    <a:srgbClr val="4B4B4A"/>
                  </a:solidFill>
                  <a:latin typeface="Manrope" pitchFamily="2" charset="0"/>
                </a:rPr>
              </a:br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Network UI</a:t>
              </a:r>
            </a:p>
          </p:txBody>
        </p:sp>
        <p:sp>
          <p:nvSpPr>
            <p:cNvPr id="62" name="Rechteck 13">
              <a:extLst>
                <a:ext uri="{FF2B5EF4-FFF2-40B4-BE49-F238E27FC236}">
                  <a16:creationId xmlns:a16="http://schemas.microsoft.com/office/drawing/2014/main" id="{4CB65938-656C-1B28-44B0-BBC437A566A4}"/>
                </a:ext>
              </a:extLst>
            </p:cNvPr>
            <p:cNvSpPr/>
            <p:nvPr/>
          </p:nvSpPr>
          <p:spPr>
            <a:xfrm>
              <a:off x="1313130" y="3638659"/>
              <a:ext cx="1259981" cy="36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Policy Template Hub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B7A9FB6-999B-FFF6-C0EC-C97BC106CA8B}"/>
              </a:ext>
            </a:extLst>
          </p:cNvPr>
          <p:cNvGrpSpPr/>
          <p:nvPr/>
        </p:nvGrpSpPr>
        <p:grpSpPr>
          <a:xfrm>
            <a:off x="5936868" y="2430159"/>
            <a:ext cx="1259982" cy="770556"/>
            <a:chOff x="6357415" y="2419999"/>
            <a:chExt cx="1259982" cy="770556"/>
          </a:xfrm>
        </p:grpSpPr>
        <p:sp>
          <p:nvSpPr>
            <p:cNvPr id="50" name="Rechteck 59">
              <a:extLst>
                <a:ext uri="{FF2B5EF4-FFF2-40B4-BE49-F238E27FC236}">
                  <a16:creationId xmlns:a16="http://schemas.microsoft.com/office/drawing/2014/main" id="{01C919F9-801E-19DC-D574-2185746D02A8}"/>
                </a:ext>
              </a:extLst>
            </p:cNvPr>
            <p:cNvSpPr/>
            <p:nvPr/>
          </p:nvSpPr>
          <p:spPr>
            <a:xfrm>
              <a:off x="6357415" y="2419999"/>
              <a:ext cx="1259981" cy="35999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5F5F5E"/>
                  </a:solidFill>
                  <a:latin typeface="Manrope" pitchFamily="2" charset="0"/>
                </a:rPr>
                <a:t>Registration</a:t>
              </a:r>
            </a:p>
          </p:txBody>
        </p:sp>
        <p:sp>
          <p:nvSpPr>
            <p:cNvPr id="64" name="Rechteck 11">
              <a:extLst>
                <a:ext uri="{FF2B5EF4-FFF2-40B4-BE49-F238E27FC236}">
                  <a16:creationId xmlns:a16="http://schemas.microsoft.com/office/drawing/2014/main" id="{72E676B0-7EED-3282-E112-2E7A01420C8F}"/>
                </a:ext>
              </a:extLst>
            </p:cNvPr>
            <p:cNvSpPr/>
            <p:nvPr/>
          </p:nvSpPr>
          <p:spPr>
            <a:xfrm>
              <a:off x="6357416" y="2830561"/>
              <a:ext cx="1259981" cy="35999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1439" tIns="45719" rIns="91439" bIns="45719"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rgbClr val="5F5F5E"/>
                  </a:solidFill>
                  <a:latin typeface="Manrope" pitchFamily="2" charset="0"/>
                </a:rPr>
                <a:t>Identity Provider (User)</a:t>
              </a:r>
            </a:p>
          </p:txBody>
        </p:sp>
      </p:grpSp>
      <p:sp>
        <p:nvSpPr>
          <p:cNvPr id="2" name="Rechteck 56">
            <a:extLst>
              <a:ext uri="{FF2B5EF4-FFF2-40B4-BE49-F238E27FC236}">
                <a16:creationId xmlns:a16="http://schemas.microsoft.com/office/drawing/2014/main" id="{CB9DE06B-27A1-70AF-44F3-F950741FDA4F}"/>
              </a:ext>
            </a:extLst>
          </p:cNvPr>
          <p:cNvSpPr/>
          <p:nvPr/>
        </p:nvSpPr>
        <p:spPr>
          <a:xfrm>
            <a:off x="7919962" y="4072403"/>
            <a:ext cx="1303713" cy="1216351"/>
          </a:xfrm>
          <a:prstGeom prst="rect">
            <a:avLst/>
          </a:prstGeom>
          <a:solidFill>
            <a:srgbClr val="CECECE"/>
          </a:solidFill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/>
            <a:r>
              <a:rPr lang="de-DE" sz="1000" dirty="0">
                <a:solidFill>
                  <a:srgbClr val="5F5F5E"/>
                </a:solidFill>
                <a:latin typeface="Manrope" pitchFamily="2" charset="0"/>
              </a:rPr>
              <a:t>AAS</a:t>
            </a:r>
          </a:p>
        </p:txBody>
      </p:sp>
      <p:sp>
        <p:nvSpPr>
          <p:cNvPr id="43" name="Rechteck 28">
            <a:extLst>
              <a:ext uri="{FF2B5EF4-FFF2-40B4-BE49-F238E27FC236}">
                <a16:creationId xmlns:a16="http://schemas.microsoft.com/office/drawing/2014/main" id="{57EFEEED-4CF8-2BEF-053F-5A689858FEE6}"/>
              </a:ext>
            </a:extLst>
          </p:cNvPr>
          <p:cNvSpPr/>
          <p:nvPr/>
        </p:nvSpPr>
        <p:spPr>
          <a:xfrm>
            <a:off x="7959826" y="4483716"/>
            <a:ext cx="1223981" cy="35999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prstDash val="soli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000">
                <a:solidFill>
                  <a:srgbClr val="5F5F5E"/>
                </a:solidFill>
                <a:latin typeface="Manrope" pitchFamily="2" charset="0"/>
              </a:rPr>
              <a:t>Digital Twin Registry</a:t>
            </a:r>
          </a:p>
        </p:txBody>
      </p:sp>
      <p:sp>
        <p:nvSpPr>
          <p:cNvPr id="46" name="Rechteck 31">
            <a:extLst>
              <a:ext uri="{FF2B5EF4-FFF2-40B4-BE49-F238E27FC236}">
                <a16:creationId xmlns:a16="http://schemas.microsoft.com/office/drawing/2014/main" id="{992C6BAE-12C5-150C-C41E-54D49503BFE8}"/>
              </a:ext>
            </a:extLst>
          </p:cNvPr>
          <p:cNvSpPr/>
          <p:nvPr/>
        </p:nvSpPr>
        <p:spPr>
          <a:xfrm>
            <a:off x="7959827" y="4904853"/>
            <a:ext cx="1223981" cy="35999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prstDash val="soli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17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25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8033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srgbClr val="5F5F5E"/>
                </a:solidFill>
                <a:latin typeface="Manrope" pitchFamily="2" charset="0"/>
              </a:rPr>
              <a:t>AAS-Serve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54DF9DB-2374-599F-5844-2AE788BC2991}"/>
              </a:ext>
            </a:extLst>
          </p:cNvPr>
          <p:cNvGrpSpPr/>
          <p:nvPr/>
        </p:nvGrpSpPr>
        <p:grpSpPr>
          <a:xfrm>
            <a:off x="2672418" y="2430160"/>
            <a:ext cx="2589170" cy="2002244"/>
            <a:chOff x="3060624" y="2286076"/>
            <a:chExt cx="2589170" cy="2002244"/>
          </a:xfrm>
        </p:grpSpPr>
        <p:sp>
          <p:nvSpPr>
            <p:cNvPr id="27" name="Rechteck 8">
              <a:extLst>
                <a:ext uri="{FF2B5EF4-FFF2-40B4-BE49-F238E27FC236}">
                  <a16:creationId xmlns:a16="http://schemas.microsoft.com/office/drawing/2014/main" id="{533D7AC0-C0AA-5A29-BB1C-8041E279961D}"/>
                </a:ext>
              </a:extLst>
            </p:cNvPr>
            <p:cNvSpPr/>
            <p:nvPr/>
          </p:nvSpPr>
          <p:spPr>
            <a:xfrm>
              <a:off x="4389813" y="2696637"/>
              <a:ext cx="1259981" cy="35999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BPN Discovery</a:t>
              </a:r>
            </a:p>
          </p:txBody>
        </p:sp>
        <p:sp>
          <p:nvSpPr>
            <p:cNvPr id="28" name="Rechteck 9">
              <a:extLst>
                <a:ext uri="{FF2B5EF4-FFF2-40B4-BE49-F238E27FC236}">
                  <a16:creationId xmlns:a16="http://schemas.microsoft.com/office/drawing/2014/main" id="{9AB67143-144B-04AA-D99B-267C710DD305}"/>
                </a:ext>
              </a:extLst>
            </p:cNvPr>
            <p:cNvSpPr/>
            <p:nvPr/>
          </p:nvSpPr>
          <p:spPr>
            <a:xfrm>
              <a:off x="4389813" y="3517759"/>
              <a:ext cx="1259981" cy="359994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chemeClr val="bg1"/>
                  </a:solidFill>
                  <a:latin typeface="Manrope" pitchFamily="2" charset="0"/>
                </a:rPr>
                <a:t>Issuer Service</a:t>
              </a:r>
            </a:p>
          </p:txBody>
        </p:sp>
        <p:sp>
          <p:nvSpPr>
            <p:cNvPr id="30" name="Rechteck 18">
              <a:extLst>
                <a:ext uri="{FF2B5EF4-FFF2-40B4-BE49-F238E27FC236}">
                  <a16:creationId xmlns:a16="http://schemas.microsoft.com/office/drawing/2014/main" id="{63AB68A6-ADFB-C695-85C7-DBA62D644516}"/>
                </a:ext>
              </a:extLst>
            </p:cNvPr>
            <p:cNvSpPr/>
            <p:nvPr/>
          </p:nvSpPr>
          <p:spPr>
            <a:xfrm>
              <a:off x="3060624" y="2286076"/>
              <a:ext cx="1259981" cy="35999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rgbClr val="4B4B4A"/>
                  </a:solidFill>
                  <a:latin typeface="Manrope" pitchFamily="2" charset="0"/>
                </a:rPr>
                <a:t>Golden Record Service &amp; API</a:t>
              </a:r>
            </a:p>
          </p:txBody>
        </p:sp>
        <p:sp>
          <p:nvSpPr>
            <p:cNvPr id="31" name="Rechteck 20">
              <a:extLst>
                <a:ext uri="{FF2B5EF4-FFF2-40B4-BE49-F238E27FC236}">
                  <a16:creationId xmlns:a16="http://schemas.microsoft.com/office/drawing/2014/main" id="{BA238242-F6EF-7952-B790-5027B4BBEAB7}"/>
                </a:ext>
              </a:extLst>
            </p:cNvPr>
            <p:cNvSpPr/>
            <p:nvPr/>
          </p:nvSpPr>
          <p:spPr>
            <a:xfrm>
              <a:off x="3060624" y="2696637"/>
              <a:ext cx="1259981" cy="35999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rgbClr val="4B4B4A"/>
                  </a:solidFill>
                  <a:latin typeface="Manrope" pitchFamily="2" charset="0"/>
                </a:rPr>
                <a:t>Business Partner Number Issuer</a:t>
              </a:r>
            </a:p>
          </p:txBody>
        </p:sp>
        <p:sp>
          <p:nvSpPr>
            <p:cNvPr id="32" name="Rechteck 8">
              <a:extLst>
                <a:ext uri="{FF2B5EF4-FFF2-40B4-BE49-F238E27FC236}">
                  <a16:creationId xmlns:a16="http://schemas.microsoft.com/office/drawing/2014/main" id="{7BCC2A71-8B16-8E3F-D115-B0121D8F2EE7}"/>
                </a:ext>
              </a:extLst>
            </p:cNvPr>
            <p:cNvSpPr/>
            <p:nvPr/>
          </p:nvSpPr>
          <p:spPr>
            <a:xfrm>
              <a:off x="4389813" y="3107198"/>
              <a:ext cx="1259980" cy="35999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Discovery Finder</a:t>
              </a:r>
            </a:p>
          </p:txBody>
        </p:sp>
        <p:sp>
          <p:nvSpPr>
            <p:cNvPr id="33" name="Rechteck 8">
              <a:extLst>
                <a:ext uri="{FF2B5EF4-FFF2-40B4-BE49-F238E27FC236}">
                  <a16:creationId xmlns:a16="http://schemas.microsoft.com/office/drawing/2014/main" id="{C00A1787-B8A5-FE40-6DEF-97ACC17F481B}"/>
                </a:ext>
              </a:extLst>
            </p:cNvPr>
            <p:cNvSpPr/>
            <p:nvPr/>
          </p:nvSpPr>
          <p:spPr>
            <a:xfrm>
              <a:off x="4389813" y="2286076"/>
              <a:ext cx="1259981" cy="359994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chemeClr val="bg1"/>
                  </a:solidFill>
                  <a:latin typeface="Manrope" pitchFamily="2" charset="0"/>
                </a:rPr>
                <a:t>Identity Wallet</a:t>
              </a:r>
            </a:p>
          </p:txBody>
        </p:sp>
        <p:sp>
          <p:nvSpPr>
            <p:cNvPr id="34" name="Rechteck 30">
              <a:extLst>
                <a:ext uri="{FF2B5EF4-FFF2-40B4-BE49-F238E27FC236}">
                  <a16:creationId xmlns:a16="http://schemas.microsoft.com/office/drawing/2014/main" id="{5054D67B-6D69-64EF-86DF-CACB16C981AC}"/>
                </a:ext>
              </a:extLst>
            </p:cNvPr>
            <p:cNvSpPr/>
            <p:nvPr/>
          </p:nvSpPr>
          <p:spPr>
            <a:xfrm>
              <a:off x="3060624" y="3517759"/>
              <a:ext cx="1259981" cy="35999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1439" tIns="45719" rIns="91439" bIns="45719"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rgbClr val="4B4B4A"/>
                  </a:solidFill>
                  <a:latin typeface="Manrope" pitchFamily="2" charset="0"/>
                </a:rPr>
                <a:t>SD-Factory</a:t>
              </a:r>
            </a:p>
          </p:txBody>
        </p:sp>
        <p:sp>
          <p:nvSpPr>
            <p:cNvPr id="63" name="Rechteck 4">
              <a:extLst>
                <a:ext uri="{FF2B5EF4-FFF2-40B4-BE49-F238E27FC236}">
                  <a16:creationId xmlns:a16="http://schemas.microsoft.com/office/drawing/2014/main" id="{A2F63817-5B7C-B37F-A6C3-238ACB209BBC}"/>
                </a:ext>
              </a:extLst>
            </p:cNvPr>
            <p:cNvSpPr/>
            <p:nvPr/>
          </p:nvSpPr>
          <p:spPr>
            <a:xfrm>
              <a:off x="3060624" y="3107198"/>
              <a:ext cx="1259981" cy="35999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1000" dirty="0">
                  <a:solidFill>
                    <a:srgbClr val="4B4B4A"/>
                  </a:solidFill>
                  <a:latin typeface="Manrope" pitchFamily="2" charset="0"/>
                </a:rPr>
                <a:t>Authority Schema Registry</a:t>
              </a:r>
              <a:endParaRPr lang="en-US" sz="1000" dirty="0">
                <a:solidFill>
                  <a:srgbClr val="4B4B4A"/>
                </a:solidFill>
                <a:latin typeface="Manrope" pitchFamily="2" charset="0"/>
              </a:endParaRPr>
            </a:p>
          </p:txBody>
        </p:sp>
        <p:sp>
          <p:nvSpPr>
            <p:cNvPr id="68" name="Rechteck 17">
              <a:extLst>
                <a:ext uri="{FF2B5EF4-FFF2-40B4-BE49-F238E27FC236}">
                  <a16:creationId xmlns:a16="http://schemas.microsoft.com/office/drawing/2014/main" id="{B81E0A78-9C87-8708-9BFF-B0224BBABEC1}"/>
                </a:ext>
              </a:extLst>
            </p:cNvPr>
            <p:cNvSpPr/>
            <p:nvPr/>
          </p:nvSpPr>
          <p:spPr>
            <a:xfrm>
              <a:off x="3060624" y="3928320"/>
              <a:ext cx="1259981" cy="36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1439" tIns="45719" rIns="91439" bIns="45719"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rgbClr val="4B4B4A"/>
                  </a:solidFill>
                  <a:latin typeface="Manrope" pitchFamily="2" charset="0"/>
                </a:rPr>
                <a:t>Identity Provider (Clients)</a:t>
              </a:r>
            </a:p>
          </p:txBody>
        </p:sp>
        <p:sp>
          <p:nvSpPr>
            <p:cNvPr id="3" name="Rechteck 17">
              <a:extLst>
                <a:ext uri="{FF2B5EF4-FFF2-40B4-BE49-F238E27FC236}">
                  <a16:creationId xmlns:a16="http://schemas.microsoft.com/office/drawing/2014/main" id="{20202B24-2CB1-B688-32CF-A7A97139AC70}"/>
                </a:ext>
              </a:extLst>
            </p:cNvPr>
            <p:cNvSpPr/>
            <p:nvPr/>
          </p:nvSpPr>
          <p:spPr>
            <a:xfrm>
              <a:off x="4389813" y="3928320"/>
              <a:ext cx="1259981" cy="36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1439" tIns="45719" rIns="91439" bIns="45719" rtlCol="0" anchor="ctr"/>
            <a:lstStyle>
              <a:defPPr>
                <a:defRPr lang="en-US"/>
              </a:defPPr>
              <a:lvl1pPr marL="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64017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96025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28033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41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92050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024058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56066" algn="l" defTabSz="864017" rtl="0" eaLnBrk="1" latinLnBrk="0" hangingPunct="1">
                <a:defRPr sz="1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rgbClr val="4B4B4A"/>
                  </a:solidFill>
                  <a:latin typeface="Manrope" pitchFamily="2" charset="0"/>
                </a:rPr>
                <a:t>BPN DID Resolution Serv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4808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2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173213b-d6e6-4077-93de-fac7afb8733c">
      <Terms xmlns="http://schemas.microsoft.com/office/infopath/2007/PartnerControls"/>
    </lcf76f155ced4ddcb4097134ff3c332f>
    <TaxCatchAll xmlns="067b8054-3481-4999-9b89-5a9a3729820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6932D3EDDA8143B32FA8AD5C5501B9" ma:contentTypeVersion="14" ma:contentTypeDescription="Create a new document." ma:contentTypeScope="" ma:versionID="33c1ddbf7c742165d58f4b59f1b98d8d">
  <xsd:schema xmlns:xsd="http://www.w3.org/2001/XMLSchema" xmlns:xs="http://www.w3.org/2001/XMLSchema" xmlns:p="http://schemas.microsoft.com/office/2006/metadata/properties" xmlns:ns2="e173213b-d6e6-4077-93de-fac7afb8733c" xmlns:ns3="067b8054-3481-4999-9b89-5a9a3729820c" targetNamespace="http://schemas.microsoft.com/office/2006/metadata/properties" ma:root="true" ma:fieldsID="5dc3ff5d9372e5396b331595de44d009" ns2:_="" ns3:_="">
    <xsd:import namespace="e173213b-d6e6-4077-93de-fac7afb8733c"/>
    <xsd:import namespace="067b8054-3481-4999-9b89-5a9a3729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73213b-d6e6-4077-93de-fac7afb873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651ef69f-b95c-4ae8-865a-c403d19ffde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7b8054-3481-4999-9b89-5a9a3729820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7ef3ca2-985a-45de-9c4c-1141e191c108}" ma:internalName="TaxCatchAll" ma:showField="CatchAllData" ma:web="067b8054-3481-4999-9b89-5a9a3729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C92D651-CF17-458D-BAB0-968B56BA4133}">
  <ds:schemaRefs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terms/"/>
    <ds:schemaRef ds:uri="e173213b-d6e6-4077-93de-fac7afb8733c"/>
    <ds:schemaRef ds:uri="http://schemas.microsoft.com/office/infopath/2007/PartnerControls"/>
    <ds:schemaRef ds:uri="067b8054-3481-4999-9b89-5a9a3729820c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77F7475D-D88E-43AF-984A-75F02EC940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727BFC8-5EE7-434B-8C5F-98AF07035CC2}">
  <ds:schemaRefs>
    <ds:schemaRef ds:uri="067b8054-3481-4999-9b89-5a9a3729820c"/>
    <ds:schemaRef ds:uri="e173213b-d6e6-4077-93de-fac7afb873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11203_2_Catena-X_PPT_Vorlage</Template>
  <TotalTime>0</TotalTime>
  <Words>99</Words>
  <Application>Microsoft Office PowerPoint</Application>
  <PresentationFormat>Custom</PresentationFormat>
  <Paragraphs>3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Manrope</vt:lpstr>
      <vt:lpstr>Catena-X PowerPoint Master</vt:lpstr>
      <vt:lpstr>Catena-X PowerPoint Master</vt:lpstr>
      <vt:lpstr>think-cell Foli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er steht die Überschrift der Präsentation</dc:title>
  <dc:creator>Schilcher, Helen</dc:creator>
  <cp:lastModifiedBy>Werner Roman FRD FIEA</cp:lastModifiedBy>
  <cp:revision>16</cp:revision>
  <cp:lastPrinted>2023-09-25T09:17:58Z</cp:lastPrinted>
  <dcterms:created xsi:type="dcterms:W3CDTF">2021-12-08T08:40:32Z</dcterms:created>
  <dcterms:modified xsi:type="dcterms:W3CDTF">2024-06-06T19:57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6932D3EDDA8143B32FA8AD5C5501B9</vt:lpwstr>
  </property>
  <property fmtid="{D5CDD505-2E9C-101B-9397-08002B2CF9AE}" pid="3" name="MSIP_Label_7294a1c8-9899-41e7-8f6e-8b1b3c79592a_Enabled">
    <vt:lpwstr>true</vt:lpwstr>
  </property>
  <property fmtid="{D5CDD505-2E9C-101B-9397-08002B2CF9AE}" pid="4" name="MSIP_Label_7294a1c8-9899-41e7-8f6e-8b1b3c79592a_Name">
    <vt:lpwstr>Internal sub2 (no marking)</vt:lpwstr>
  </property>
  <property fmtid="{D5CDD505-2E9C-101B-9397-08002B2CF9AE}" pid="5" name="MSIP_Label_7294a1c8-9899-41e7-8f6e-8b1b3c79592a_Method">
    <vt:lpwstr>Privileged</vt:lpwstr>
  </property>
  <property fmtid="{D5CDD505-2E9C-101B-9397-08002B2CF9AE}" pid="6" name="MSIP_Label_7294a1c8-9899-41e7-8f6e-8b1b3c79592a_SetDate">
    <vt:lpwstr>2022-10-12T17:25:59Z</vt:lpwstr>
  </property>
  <property fmtid="{D5CDD505-2E9C-101B-9397-08002B2CF9AE}" pid="7" name="MSIP_Label_7294a1c8-9899-41e7-8f6e-8b1b3c79592a_ActionId">
    <vt:lpwstr>8e3a4931-6d70-4069-9dee-2ffb7d7eda15</vt:lpwstr>
  </property>
  <property fmtid="{D5CDD505-2E9C-101B-9397-08002B2CF9AE}" pid="8" name="MSIP_Label_7294a1c8-9899-41e7-8f6e-8b1b3c79592a_ContentBits">
    <vt:lpwstr>0</vt:lpwstr>
  </property>
  <property fmtid="{D5CDD505-2E9C-101B-9397-08002B2CF9AE}" pid="9" name="MSIP_Label_7294a1c8-9899-41e7-8f6e-8b1b3c79592a_SiteId">
    <vt:lpwstr>eb70b763-b6d7-4486-8555-8831709a784e</vt:lpwstr>
  </property>
  <property fmtid="{D5CDD505-2E9C-101B-9397-08002B2CF9AE}" pid="10" name="MediaServiceImageTags">
    <vt:lpwstr/>
  </property>
</Properties>
</file>